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56AF02-227A-41A7-A312-DDFF287D5DEF}" v="56" dt="2023-03-08T00:24:49.2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110" d="100"/>
          <a:sy n="110" d="100"/>
        </p:scale>
        <p:origin x="114" y="336"/>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4256AF02-227A-41A7-A312-DDFF287D5DEF}"/>
    <pc:docChg chg="custSel addSld delSld modSld">
      <pc:chgData name="Roberto Gallardo" userId="49a044883f185952" providerId="LiveId" clId="{4256AF02-227A-41A7-A312-DDFF287D5DEF}" dt="2023-03-08T00:24:57.709" v="224" actId="1076"/>
      <pc:docMkLst>
        <pc:docMk/>
      </pc:docMkLst>
      <pc:sldChg chg="del">
        <pc:chgData name="Roberto Gallardo" userId="49a044883f185952" providerId="LiveId" clId="{4256AF02-227A-41A7-A312-DDFF287D5DEF}" dt="2023-02-25T15:13:09.649" v="4" actId="47"/>
        <pc:sldMkLst>
          <pc:docMk/>
          <pc:sldMk cId="1175010214" sldId="261"/>
        </pc:sldMkLst>
      </pc:sldChg>
      <pc:sldChg chg="addSp modSp mod">
        <pc:chgData name="Roberto Gallardo" userId="49a044883f185952" providerId="LiveId" clId="{4256AF02-227A-41A7-A312-DDFF287D5DEF}" dt="2023-03-08T00:18:31.680" v="13" actId="1076"/>
        <pc:sldMkLst>
          <pc:docMk/>
          <pc:sldMk cId="1418533539" sldId="271"/>
        </pc:sldMkLst>
        <pc:picChg chg="add mod">
          <ac:chgData name="Roberto Gallardo" userId="49a044883f185952" providerId="LiveId" clId="{4256AF02-227A-41A7-A312-DDFF287D5DEF}" dt="2023-03-08T00:18:31.680" v="13" actId="1076"/>
          <ac:picMkLst>
            <pc:docMk/>
            <pc:sldMk cId="1418533539" sldId="271"/>
            <ac:picMk id="6" creationId="{146D0E6F-5706-E05B-C6B5-DBB6FC728918}"/>
          </ac:picMkLst>
        </pc:picChg>
      </pc:sldChg>
      <pc:sldChg chg="addSp modSp mod">
        <pc:chgData name="Roberto Gallardo" userId="49a044883f185952" providerId="LiveId" clId="{4256AF02-227A-41A7-A312-DDFF287D5DEF}" dt="2023-03-08T00:20:18.478" v="73" actId="1076"/>
        <pc:sldMkLst>
          <pc:docMk/>
          <pc:sldMk cId="2124848710" sldId="281"/>
        </pc:sldMkLst>
        <pc:picChg chg="add mod">
          <ac:chgData name="Roberto Gallardo" userId="49a044883f185952" providerId="LiveId" clId="{4256AF02-227A-41A7-A312-DDFF287D5DEF}" dt="2023-03-08T00:20:18.478" v="73" actId="1076"/>
          <ac:picMkLst>
            <pc:docMk/>
            <pc:sldMk cId="2124848710" sldId="281"/>
            <ac:picMk id="6" creationId="{ECD9499A-76AE-DDEB-0244-8E1B477F8D26}"/>
          </ac:picMkLst>
        </pc:picChg>
      </pc:sldChg>
      <pc:sldChg chg="addSp modSp mod">
        <pc:chgData name="Roberto Gallardo" userId="49a044883f185952" providerId="LiveId" clId="{4256AF02-227A-41A7-A312-DDFF287D5DEF}" dt="2023-03-08T00:20:33.583" v="83" actId="1076"/>
        <pc:sldMkLst>
          <pc:docMk/>
          <pc:sldMk cId="2028175529" sldId="282"/>
        </pc:sldMkLst>
        <pc:picChg chg="add mod">
          <ac:chgData name="Roberto Gallardo" userId="49a044883f185952" providerId="LiveId" clId="{4256AF02-227A-41A7-A312-DDFF287D5DEF}" dt="2023-03-08T00:20:33.583" v="83" actId="1076"/>
          <ac:picMkLst>
            <pc:docMk/>
            <pc:sldMk cId="2028175529" sldId="282"/>
            <ac:picMk id="7" creationId="{5A38ECFE-7962-57FD-6D2C-621C4BA8D136}"/>
          </ac:picMkLst>
        </pc:picChg>
      </pc:sldChg>
      <pc:sldChg chg="addSp modSp mod">
        <pc:chgData name="Roberto Gallardo" userId="49a044883f185952" providerId="LiveId" clId="{4256AF02-227A-41A7-A312-DDFF287D5DEF}" dt="2023-03-08T00:20:46.958" v="92" actId="1076"/>
        <pc:sldMkLst>
          <pc:docMk/>
          <pc:sldMk cId="1326517747" sldId="283"/>
        </pc:sldMkLst>
        <pc:picChg chg="add mod">
          <ac:chgData name="Roberto Gallardo" userId="49a044883f185952" providerId="LiveId" clId="{4256AF02-227A-41A7-A312-DDFF287D5DEF}" dt="2023-03-08T00:20:46.958" v="92" actId="1076"/>
          <ac:picMkLst>
            <pc:docMk/>
            <pc:sldMk cId="1326517747" sldId="283"/>
            <ac:picMk id="7" creationId="{76264EB1-D9AA-B183-7D02-E140D79B2184}"/>
          </ac:picMkLst>
        </pc:picChg>
      </pc:sldChg>
      <pc:sldChg chg="addSp modSp mod">
        <pc:chgData name="Roberto Gallardo" userId="49a044883f185952" providerId="LiveId" clId="{4256AF02-227A-41A7-A312-DDFF287D5DEF}" dt="2023-03-08T00:21:02.183" v="103" actId="1076"/>
        <pc:sldMkLst>
          <pc:docMk/>
          <pc:sldMk cId="783739251" sldId="284"/>
        </pc:sldMkLst>
        <pc:picChg chg="add mod">
          <ac:chgData name="Roberto Gallardo" userId="49a044883f185952" providerId="LiveId" clId="{4256AF02-227A-41A7-A312-DDFF287D5DEF}" dt="2023-03-08T00:21:02.183" v="103" actId="1076"/>
          <ac:picMkLst>
            <pc:docMk/>
            <pc:sldMk cId="783739251" sldId="284"/>
            <ac:picMk id="7" creationId="{91E16F3E-73D5-B9C7-4B5E-90A0DDC85383}"/>
          </ac:picMkLst>
        </pc:picChg>
      </pc:sldChg>
      <pc:sldChg chg="addSp modSp mod">
        <pc:chgData name="Roberto Gallardo" userId="49a044883f185952" providerId="LiveId" clId="{4256AF02-227A-41A7-A312-DDFF287D5DEF}" dt="2023-03-08T00:21:14.949" v="112" actId="1076"/>
        <pc:sldMkLst>
          <pc:docMk/>
          <pc:sldMk cId="1676122233" sldId="285"/>
        </pc:sldMkLst>
        <pc:picChg chg="add mod">
          <ac:chgData name="Roberto Gallardo" userId="49a044883f185952" providerId="LiveId" clId="{4256AF02-227A-41A7-A312-DDFF287D5DEF}" dt="2023-03-08T00:21:14.949" v="112" actId="1076"/>
          <ac:picMkLst>
            <pc:docMk/>
            <pc:sldMk cId="1676122233" sldId="285"/>
            <ac:picMk id="7" creationId="{D0D86577-082B-9973-211B-7DEB65EA0741}"/>
          </ac:picMkLst>
        </pc:picChg>
      </pc:sldChg>
      <pc:sldChg chg="addSp modSp mod">
        <pc:chgData name="Roberto Gallardo" userId="49a044883f185952" providerId="LiveId" clId="{4256AF02-227A-41A7-A312-DDFF287D5DEF}" dt="2023-03-08T00:21:29.437" v="123" actId="1076"/>
        <pc:sldMkLst>
          <pc:docMk/>
          <pc:sldMk cId="3100398757" sldId="286"/>
        </pc:sldMkLst>
        <pc:picChg chg="add mod">
          <ac:chgData name="Roberto Gallardo" userId="49a044883f185952" providerId="LiveId" clId="{4256AF02-227A-41A7-A312-DDFF287D5DEF}" dt="2023-03-08T00:21:29.437" v="123" actId="1076"/>
          <ac:picMkLst>
            <pc:docMk/>
            <pc:sldMk cId="3100398757" sldId="286"/>
            <ac:picMk id="7" creationId="{FAAE0754-CB17-A385-0FB0-F9B2C188D7D4}"/>
          </ac:picMkLst>
        </pc:picChg>
      </pc:sldChg>
      <pc:sldChg chg="addSp modSp mod">
        <pc:chgData name="Roberto Gallardo" userId="49a044883f185952" providerId="LiveId" clId="{4256AF02-227A-41A7-A312-DDFF287D5DEF}" dt="2023-03-08T00:21:46.473" v="135" actId="1076"/>
        <pc:sldMkLst>
          <pc:docMk/>
          <pc:sldMk cId="1546475425" sldId="287"/>
        </pc:sldMkLst>
        <pc:picChg chg="add mod">
          <ac:chgData name="Roberto Gallardo" userId="49a044883f185952" providerId="LiveId" clId="{4256AF02-227A-41A7-A312-DDFF287D5DEF}" dt="2023-03-08T00:21:46.473" v="135" actId="1076"/>
          <ac:picMkLst>
            <pc:docMk/>
            <pc:sldMk cId="1546475425" sldId="287"/>
            <ac:picMk id="7" creationId="{D6B42B31-AB69-CFBF-4453-86EEF4DAE627}"/>
          </ac:picMkLst>
        </pc:picChg>
      </pc:sldChg>
      <pc:sldChg chg="addSp modSp mod">
        <pc:chgData name="Roberto Gallardo" userId="49a044883f185952" providerId="LiveId" clId="{4256AF02-227A-41A7-A312-DDFF287D5DEF}" dt="2023-03-08T00:22:24.113" v="160" actId="1076"/>
        <pc:sldMkLst>
          <pc:docMk/>
          <pc:sldMk cId="1380517306" sldId="288"/>
        </pc:sldMkLst>
        <pc:picChg chg="add mod">
          <ac:chgData name="Roberto Gallardo" userId="49a044883f185952" providerId="LiveId" clId="{4256AF02-227A-41A7-A312-DDFF287D5DEF}" dt="2023-03-08T00:22:24.113" v="160" actId="1076"/>
          <ac:picMkLst>
            <pc:docMk/>
            <pc:sldMk cId="1380517306" sldId="288"/>
            <ac:picMk id="7" creationId="{EC7B490F-E5BA-6327-B100-A33A4927886D}"/>
          </ac:picMkLst>
        </pc:picChg>
      </pc:sldChg>
      <pc:sldChg chg="addSp modSp mod">
        <pc:chgData name="Roberto Gallardo" userId="49a044883f185952" providerId="LiveId" clId="{4256AF02-227A-41A7-A312-DDFF287D5DEF}" dt="2023-03-08T00:22:42.361" v="170" actId="1076"/>
        <pc:sldMkLst>
          <pc:docMk/>
          <pc:sldMk cId="1388671151" sldId="289"/>
        </pc:sldMkLst>
        <pc:picChg chg="add mod">
          <ac:chgData name="Roberto Gallardo" userId="49a044883f185952" providerId="LiveId" clId="{4256AF02-227A-41A7-A312-DDFF287D5DEF}" dt="2023-03-08T00:22:42.361" v="170" actId="1076"/>
          <ac:picMkLst>
            <pc:docMk/>
            <pc:sldMk cId="1388671151" sldId="289"/>
            <ac:picMk id="7" creationId="{36F8280E-9CF0-5D7D-8DD2-05431DCA9E3E}"/>
          </ac:picMkLst>
        </pc:picChg>
      </pc:sldChg>
      <pc:sldChg chg="addSp modSp mod">
        <pc:chgData name="Roberto Gallardo" userId="49a044883f185952" providerId="LiveId" clId="{4256AF02-227A-41A7-A312-DDFF287D5DEF}" dt="2023-03-08T00:23:19.968" v="195" actId="1076"/>
        <pc:sldMkLst>
          <pc:docMk/>
          <pc:sldMk cId="2355376039" sldId="290"/>
        </pc:sldMkLst>
        <pc:picChg chg="add mod">
          <ac:chgData name="Roberto Gallardo" userId="49a044883f185952" providerId="LiveId" clId="{4256AF02-227A-41A7-A312-DDFF287D5DEF}" dt="2023-03-08T00:23:19.968" v="195" actId="1076"/>
          <ac:picMkLst>
            <pc:docMk/>
            <pc:sldMk cId="2355376039" sldId="290"/>
            <ac:picMk id="8" creationId="{2FCCD641-CB1E-F05A-4196-FC72BEC0ED3E}"/>
          </ac:picMkLst>
        </pc:picChg>
      </pc:sldChg>
      <pc:sldChg chg="addSp modSp mod">
        <pc:chgData name="Roberto Gallardo" userId="49a044883f185952" providerId="LiveId" clId="{4256AF02-227A-41A7-A312-DDFF287D5DEF}" dt="2023-03-08T00:23:43.724" v="212" actId="1076"/>
        <pc:sldMkLst>
          <pc:docMk/>
          <pc:sldMk cId="3757257295" sldId="291"/>
        </pc:sldMkLst>
        <pc:picChg chg="add mod">
          <ac:chgData name="Roberto Gallardo" userId="49a044883f185952" providerId="LiveId" clId="{4256AF02-227A-41A7-A312-DDFF287D5DEF}" dt="2023-03-08T00:23:43.724" v="212" actId="1076"/>
          <ac:picMkLst>
            <pc:docMk/>
            <pc:sldMk cId="3757257295" sldId="291"/>
            <ac:picMk id="8" creationId="{52E2464F-AA3A-6AC7-399B-DC747B230AD1}"/>
          </ac:picMkLst>
        </pc:picChg>
      </pc:sldChg>
      <pc:sldChg chg="addSp modSp mod">
        <pc:chgData name="Roberto Gallardo" userId="49a044883f185952" providerId="LiveId" clId="{4256AF02-227A-41A7-A312-DDFF287D5DEF}" dt="2023-03-08T00:22:01.433" v="146" actId="1076"/>
        <pc:sldMkLst>
          <pc:docMk/>
          <pc:sldMk cId="1259856727" sldId="292"/>
        </pc:sldMkLst>
        <pc:picChg chg="add mod">
          <ac:chgData name="Roberto Gallardo" userId="49a044883f185952" providerId="LiveId" clId="{4256AF02-227A-41A7-A312-DDFF287D5DEF}" dt="2023-03-08T00:22:01.433" v="146" actId="1076"/>
          <ac:picMkLst>
            <pc:docMk/>
            <pc:sldMk cId="1259856727" sldId="292"/>
            <ac:picMk id="7" creationId="{1ACFC0AF-FFAD-6180-3E85-FAEEC8B30CD8}"/>
          </ac:picMkLst>
        </pc:picChg>
      </pc:sldChg>
      <pc:sldChg chg="addSp modSp mod">
        <pc:chgData name="Roberto Gallardo" userId="49a044883f185952" providerId="LiveId" clId="{4256AF02-227A-41A7-A312-DDFF287D5DEF}" dt="2023-03-08T00:20:00.819" v="62" actId="1076"/>
        <pc:sldMkLst>
          <pc:docMk/>
          <pc:sldMk cId="3324519687" sldId="293"/>
        </pc:sldMkLst>
        <pc:picChg chg="add mod">
          <ac:chgData name="Roberto Gallardo" userId="49a044883f185952" providerId="LiveId" clId="{4256AF02-227A-41A7-A312-DDFF287D5DEF}" dt="2023-03-08T00:20:00.819" v="62" actId="1076"/>
          <ac:picMkLst>
            <pc:docMk/>
            <pc:sldMk cId="3324519687" sldId="293"/>
            <ac:picMk id="7" creationId="{BC9917C5-E5F5-A9FD-AEE9-CFA772A38548}"/>
          </ac:picMkLst>
        </pc:picChg>
      </pc:sldChg>
      <pc:sldChg chg="addSp modSp mod">
        <pc:chgData name="Roberto Gallardo" userId="49a044883f185952" providerId="LiveId" clId="{4256AF02-227A-41A7-A312-DDFF287D5DEF}" dt="2023-03-08T00:19:25.298" v="41" actId="1076"/>
        <pc:sldMkLst>
          <pc:docMk/>
          <pc:sldMk cId="3256182630" sldId="295"/>
        </pc:sldMkLst>
        <pc:picChg chg="add mod">
          <ac:chgData name="Roberto Gallardo" userId="49a044883f185952" providerId="LiveId" clId="{4256AF02-227A-41A7-A312-DDFF287D5DEF}" dt="2023-03-08T00:19:25.298" v="41" actId="1076"/>
          <ac:picMkLst>
            <pc:docMk/>
            <pc:sldMk cId="3256182630" sldId="295"/>
            <ac:picMk id="7" creationId="{74BF9563-684E-0164-BF6E-85D9A931CB1B}"/>
          </ac:picMkLst>
        </pc:picChg>
      </pc:sldChg>
      <pc:sldChg chg="addSp modSp mod">
        <pc:chgData name="Roberto Gallardo" userId="49a044883f185952" providerId="LiveId" clId="{4256AF02-227A-41A7-A312-DDFF287D5DEF}" dt="2023-03-08T00:19:45.129" v="51" actId="1076"/>
        <pc:sldMkLst>
          <pc:docMk/>
          <pc:sldMk cId="4057156843" sldId="296"/>
        </pc:sldMkLst>
        <pc:picChg chg="add mod">
          <ac:chgData name="Roberto Gallardo" userId="49a044883f185952" providerId="LiveId" clId="{4256AF02-227A-41A7-A312-DDFF287D5DEF}" dt="2023-03-08T00:19:45.129" v="51" actId="1076"/>
          <ac:picMkLst>
            <pc:docMk/>
            <pc:sldMk cId="4057156843" sldId="296"/>
            <ac:picMk id="7" creationId="{E86FC724-D5E4-C73E-34FC-9B968C8B133D}"/>
          </ac:picMkLst>
        </pc:picChg>
      </pc:sldChg>
      <pc:sldChg chg="addSp delSp modSp mod">
        <pc:chgData name="Roberto Gallardo" userId="49a044883f185952" providerId="LiveId" clId="{4256AF02-227A-41A7-A312-DDFF287D5DEF}" dt="2023-03-08T00:24:57.709" v="224" actId="1076"/>
        <pc:sldMkLst>
          <pc:docMk/>
          <pc:sldMk cId="2080110827" sldId="297"/>
        </pc:sldMkLst>
        <pc:picChg chg="add del mod">
          <ac:chgData name="Roberto Gallardo" userId="49a044883f185952" providerId="LiveId" clId="{4256AF02-227A-41A7-A312-DDFF287D5DEF}" dt="2023-03-08T00:24:02.420" v="213" actId="478"/>
          <ac:picMkLst>
            <pc:docMk/>
            <pc:sldMk cId="2080110827" sldId="297"/>
            <ac:picMk id="6" creationId="{6E5EF590-71C0-D98A-A912-D2C3D6DF208F}"/>
          </ac:picMkLst>
        </pc:picChg>
        <pc:picChg chg="add del mod">
          <ac:chgData name="Roberto Gallardo" userId="49a044883f185952" providerId="LiveId" clId="{4256AF02-227A-41A7-A312-DDFF287D5DEF}" dt="2023-03-08T00:24:14.156" v="217" actId="478"/>
          <ac:picMkLst>
            <pc:docMk/>
            <pc:sldMk cId="2080110827" sldId="297"/>
            <ac:picMk id="8" creationId="{85BC6DC6-F6B0-C3C4-AC86-ED5386E64617}"/>
          </ac:picMkLst>
        </pc:picChg>
        <pc:picChg chg="add mod">
          <ac:chgData name="Roberto Gallardo" userId="49a044883f185952" providerId="LiveId" clId="{4256AF02-227A-41A7-A312-DDFF287D5DEF}" dt="2023-03-08T00:24:57.709" v="224" actId="1076"/>
          <ac:picMkLst>
            <pc:docMk/>
            <pc:sldMk cId="2080110827" sldId="297"/>
            <ac:picMk id="10" creationId="{0838622B-3479-80A7-3D0D-DBFD4A7367E1}"/>
          </ac:picMkLst>
        </pc:picChg>
      </pc:sldChg>
      <pc:sldChg chg="addSp modSp mod">
        <pc:chgData name="Roberto Gallardo" userId="49a044883f185952" providerId="LiveId" clId="{4256AF02-227A-41A7-A312-DDFF287D5DEF}" dt="2023-03-08T00:18:46.825" v="20" actId="1076"/>
        <pc:sldMkLst>
          <pc:docMk/>
          <pc:sldMk cId="1532666867" sldId="298"/>
        </pc:sldMkLst>
        <pc:picChg chg="add mod">
          <ac:chgData name="Roberto Gallardo" userId="49a044883f185952" providerId="LiveId" clId="{4256AF02-227A-41A7-A312-DDFF287D5DEF}" dt="2023-03-08T00:18:46.825" v="20" actId="1076"/>
          <ac:picMkLst>
            <pc:docMk/>
            <pc:sldMk cId="1532666867" sldId="298"/>
            <ac:picMk id="6" creationId="{311CABBC-D46E-025B-A333-CF97D74E2DD1}"/>
          </ac:picMkLst>
        </pc:picChg>
      </pc:sldChg>
      <pc:sldChg chg="addSp modSp mod">
        <pc:chgData name="Roberto Gallardo" userId="49a044883f185952" providerId="LiveId" clId="{4256AF02-227A-41A7-A312-DDFF287D5DEF}" dt="2023-03-08T00:23:01.912" v="182" actId="1076"/>
        <pc:sldMkLst>
          <pc:docMk/>
          <pc:sldMk cId="1951376777" sldId="299"/>
        </pc:sldMkLst>
        <pc:picChg chg="add mod">
          <ac:chgData name="Roberto Gallardo" userId="49a044883f185952" providerId="LiveId" clId="{4256AF02-227A-41A7-A312-DDFF287D5DEF}" dt="2023-03-08T00:23:01.912" v="182" actId="1076"/>
          <ac:picMkLst>
            <pc:docMk/>
            <pc:sldMk cId="1951376777" sldId="299"/>
            <ac:picMk id="7" creationId="{7F2F49E2-8804-F5FC-0042-FFCA7C80D7D3}"/>
          </ac:picMkLst>
        </pc:picChg>
      </pc:sldChg>
      <pc:sldChg chg="modSp mod">
        <pc:chgData name="Roberto Gallardo" userId="49a044883f185952" providerId="LiveId" clId="{4256AF02-227A-41A7-A312-DDFF287D5DEF}" dt="2023-02-25T13:35:53.147" v="2" actId="20577"/>
        <pc:sldMkLst>
          <pc:docMk/>
          <pc:sldMk cId="1515423683" sldId="302"/>
        </pc:sldMkLst>
        <pc:spChg chg="mod">
          <ac:chgData name="Roberto Gallardo" userId="49a044883f185952" providerId="LiveId" clId="{4256AF02-227A-41A7-A312-DDFF287D5DEF}" dt="2023-02-25T13:35:53.147" v="2" actId="20577"/>
          <ac:spMkLst>
            <pc:docMk/>
            <pc:sldMk cId="1515423683" sldId="302"/>
            <ac:spMk id="5" creationId="{6AE302AC-8931-4144-BE52-DD1A8BA82462}"/>
          </ac:spMkLst>
        </pc:spChg>
        <pc:spChg chg="mod">
          <ac:chgData name="Roberto Gallardo" userId="49a044883f185952" providerId="LiveId" clId="{4256AF02-227A-41A7-A312-DDFF287D5DEF}" dt="2023-02-25T13:35:49.846" v="1" actId="20577"/>
          <ac:spMkLst>
            <pc:docMk/>
            <pc:sldMk cId="1515423683" sldId="302"/>
            <ac:spMk id="9" creationId="{E362A98F-7DCD-C67C-23CE-1BE182A133B4}"/>
          </ac:spMkLst>
        </pc:spChg>
      </pc:sldChg>
      <pc:sldChg chg="del">
        <pc:chgData name="Roberto Gallardo" userId="49a044883f185952" providerId="LiveId" clId="{4256AF02-227A-41A7-A312-DDFF287D5DEF}" dt="2023-02-25T15:13:09.649" v="4" actId="47"/>
        <pc:sldMkLst>
          <pc:docMk/>
          <pc:sldMk cId="2841628872" sldId="303"/>
        </pc:sldMkLst>
      </pc:sldChg>
      <pc:sldChg chg="del">
        <pc:chgData name="Roberto Gallardo" userId="49a044883f185952" providerId="LiveId" clId="{4256AF02-227A-41A7-A312-DDFF287D5DEF}" dt="2023-02-25T15:13:09.649" v="4" actId="47"/>
        <pc:sldMkLst>
          <pc:docMk/>
          <pc:sldMk cId="3084076302" sldId="304"/>
        </pc:sldMkLst>
      </pc:sldChg>
      <pc:sldChg chg="del">
        <pc:chgData name="Roberto Gallardo" userId="49a044883f185952" providerId="LiveId" clId="{4256AF02-227A-41A7-A312-DDFF287D5DEF}" dt="2023-02-25T15:13:09.649" v="4" actId="47"/>
        <pc:sldMkLst>
          <pc:docMk/>
          <pc:sldMk cId="473712435" sldId="305"/>
        </pc:sldMkLst>
      </pc:sldChg>
      <pc:sldChg chg="add">
        <pc:chgData name="Roberto Gallardo" userId="49a044883f185952" providerId="LiveId" clId="{4256AF02-227A-41A7-A312-DDFF287D5DEF}" dt="2023-02-25T15:13:06.727" v="3"/>
        <pc:sldMkLst>
          <pc:docMk/>
          <pc:sldMk cId="476895139" sldId="307"/>
        </pc:sldMkLst>
      </pc:sldChg>
      <pc:sldChg chg="add">
        <pc:chgData name="Roberto Gallardo" userId="49a044883f185952" providerId="LiveId" clId="{4256AF02-227A-41A7-A312-DDFF287D5DEF}" dt="2023-02-25T15:13:06.727" v="3"/>
        <pc:sldMkLst>
          <pc:docMk/>
          <pc:sldMk cId="845576802" sldId="308"/>
        </pc:sldMkLst>
      </pc:sldChg>
      <pc:sldChg chg="add">
        <pc:chgData name="Roberto Gallardo" userId="49a044883f185952" providerId="LiveId" clId="{4256AF02-227A-41A7-A312-DDFF287D5DEF}" dt="2023-02-25T15:13:06.727" v="3"/>
        <pc:sldMkLst>
          <pc:docMk/>
          <pc:sldMk cId="3375716140" sldId="309"/>
        </pc:sldMkLst>
      </pc:sldChg>
      <pc:sldChg chg="add">
        <pc:chgData name="Roberto Gallardo" userId="49a044883f185952" providerId="LiveId" clId="{4256AF02-227A-41A7-A312-DDFF287D5DEF}" dt="2023-02-25T15:13:06.727" v="3"/>
        <pc:sldMkLst>
          <pc:docMk/>
          <pc:sldMk cId="2276526327"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31763"/>
          </a:xfrm>
          <a:prstGeom prst="rect">
            <a:avLst/>
          </a:prstGeom>
          <a:noFill/>
        </p:spPr>
        <p:txBody>
          <a:bodyPr wrap="square" rtlCol="0">
            <a:spAutoFit/>
          </a:bodyPr>
          <a:lstStyle/>
          <a:p>
            <a:r>
              <a:rPr lang="en-US" sz="4000" dirty="0">
                <a:solidFill>
                  <a:schemeClr val="bg1"/>
                </a:solidFill>
              </a:rPr>
              <a:t>Cleveland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145FF07-F4EA-8E92-D120-0C7F3379126A}"/>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33757161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673D4696-E7DA-CED5-1813-AF97B9E0B3E2}"/>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22765263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146D0E6F-5706-E05B-C6B5-DBB6FC728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62852" y="1028700"/>
            <a:ext cx="7590095" cy="536739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311CABBC-D46E-025B-A333-CF97D74E2DD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10" name="Picture 9" descr="Map&#10;&#10;Description automatically generated">
            <a:extLst>
              <a:ext uri="{FF2B5EF4-FFF2-40B4-BE49-F238E27FC236}">
                <a16:creationId xmlns:a16="http://schemas.microsoft.com/office/drawing/2014/main" id="{0838622B-3479-80A7-3D0D-DBFD4A7367E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B32AF5B3-7250-E940-4250-341063D6CAE6}"/>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74BF9563-684E-0164-BF6E-85D9A931CB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929"/>
            <a:ext cx="6403975" cy="4528617"/>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51B714A7-98BA-91EA-1764-41B9CCC6BF3B}"/>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E86FC724-D5E4-C73E-34FC-9B968C8B133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4"/>
            <a:ext cx="6400800" cy="452637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FF53AD30-DB8F-D657-1D5A-3186316E138B}"/>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BC9917C5-E5F5-A9FD-AEE9-CFA772A385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269"/>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A17C89DB-C39D-5A35-E842-E0C70BF889B1}"/>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Diagram, map&#10;&#10;Description automatically generated">
            <a:extLst>
              <a:ext uri="{FF2B5EF4-FFF2-40B4-BE49-F238E27FC236}">
                <a16:creationId xmlns:a16="http://schemas.microsoft.com/office/drawing/2014/main" id="{ECD9499A-76AE-DDEB-0244-8E1B477F8D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8506" y="1414979"/>
            <a:ext cx="6394269" cy="4521753"/>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A851596B-A51A-D417-991B-97C824C6A045}"/>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5A38ECFE-7962-57FD-6D2C-621C4BA8D1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1780"/>
            <a:ext cx="6405562" cy="4529739"/>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a:t>
            </a:r>
            <a:r>
              <a:rPr lang="en-US" sz="1400"/>
              <a:t>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3004C85A-FB16-07A0-FBD3-40A223861265}"/>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76264EB1-D9AA-B183-7D02-E140D79B21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5850" y="1400588"/>
            <a:ext cx="6403750" cy="4528457"/>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32198B83-E423-9619-915C-01385A517E75}"/>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91E16F3E-73D5-B9C7-4B5E-90A0DDC8538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2771" y="1413786"/>
            <a:ext cx="6406829" cy="4530634"/>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0A7E843F-5136-9EF0-37AD-4FA0D4138125}"/>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 map&#10;&#10;Description automatically generated">
            <a:extLst>
              <a:ext uri="{FF2B5EF4-FFF2-40B4-BE49-F238E27FC236}">
                <a16:creationId xmlns:a16="http://schemas.microsoft.com/office/drawing/2014/main" id="{D0D86577-082B-9973-211B-7DEB65EA07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7612"/>
            <a:ext cx="6403881" cy="4528550"/>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D68DA216-AFA9-1A4E-BFB1-B4BE41D08830}"/>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FAAE0754-CB17-A385-0FB0-F9B2C188D7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754"/>
            <a:ext cx="6410325" cy="4533107"/>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3B48C95C-18D3-BF3E-8B1A-89FBA752FC85}"/>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D6B42B31-AB69-CFBF-4453-86EEF4DAE6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387"/>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0ADD4046-F6B3-973F-C33D-52DBED127883}"/>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1ACFC0AF-FFAD-6180-3E85-FAEEC8B30C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7238"/>
            <a:ext cx="6399482" cy="4525440"/>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5679977C-759D-FFA1-95BD-0E6D15965C46}"/>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EC7B490F-E5BA-6327-B100-A33A492788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1449"/>
            <a:ext cx="6400669" cy="4526278"/>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58195AAF-4853-052C-3071-7A508D951A9C}"/>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36F8280E-9CF0-5D7D-8DD2-05431DCA9E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407"/>
            <a:ext cx="6400801" cy="4526372"/>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0EBB5809-576C-6069-A46C-C330FFF8E9C4}"/>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Diagram, map&#10;&#10;Description automatically generated">
            <a:extLst>
              <a:ext uri="{FF2B5EF4-FFF2-40B4-BE49-F238E27FC236}">
                <a16:creationId xmlns:a16="http://schemas.microsoft.com/office/drawing/2014/main" id="{7F2F49E2-8804-F5FC-0042-FFCA7C80D7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4"/>
            <a:ext cx="6400800" cy="4526372"/>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7369C3BB-1074-2FE1-4941-131320CBD0FF}"/>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Diagram, map&#10;&#10;Description automatically generated">
            <a:extLst>
              <a:ext uri="{FF2B5EF4-FFF2-40B4-BE49-F238E27FC236}">
                <a16:creationId xmlns:a16="http://schemas.microsoft.com/office/drawing/2014/main" id="{2FCCD641-CB1E-F05A-4196-FC72BEC0ED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147"/>
            <a:ext cx="6400800" cy="4526372"/>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00E67CB0-A76D-69DF-FCAF-D26B68E87DAE}"/>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5FCF838D-1436-4F86-5A50-F26B0CE697A9}"/>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Diagram, map&#10;&#10;Description automatically generated">
            <a:extLst>
              <a:ext uri="{FF2B5EF4-FFF2-40B4-BE49-F238E27FC236}">
                <a16:creationId xmlns:a16="http://schemas.microsoft.com/office/drawing/2014/main" id="{52E2464F-AA3A-6AC7-399B-DC747B230A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799" y="1408762"/>
            <a:ext cx="6400801" cy="4526372"/>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1F1340AE-227D-2F54-F921-BD4DABBF638F}"/>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8287FA17-7691-B1AA-BF48-224BE49BDE4B}"/>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D54F03F-AFB6-D581-A5D5-638A618633A3}"/>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83452" y="2432693"/>
            <a:ext cx="1198148" cy="2424063"/>
            <a:chOff x="10485745" y="2457537"/>
            <a:chExt cx="1198148" cy="2424063"/>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21745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4.3</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45753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457537"/>
              <a:ext cx="0" cy="75992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110011"/>
              <a:ext cx="0" cy="77158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67072" y="2467439"/>
            <a:ext cx="1198148" cy="2314827"/>
            <a:chOff x="2775759" y="2177183"/>
            <a:chExt cx="1198148" cy="2314827"/>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610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3.2</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17718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177183"/>
              <a:ext cx="0" cy="7838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853553"/>
              <a:ext cx="0" cy="63845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F8CCCEC2-A185-F6FE-33D3-BE291687D6BB}"/>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24D8E986-E573-CBEF-68D7-6959AB1628A3}"/>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F129E919-D037-B576-357B-12A5A8D51864}"/>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E33C8C02-143F-71C6-484E-57B8786240B4}"/>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94265AE9-B50F-1538-0E65-141DBAEC75C8}"/>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B15CAB9B-C13F-17EF-C490-002D8A916AFA}"/>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FDB911EF-1812-7E47-3734-150BAC6AEF91}"/>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4768951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4990F8DA-BF75-860E-E5D1-CB7C89E4A8D9}"/>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8455768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10</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92</cp:revision>
  <dcterms:created xsi:type="dcterms:W3CDTF">2022-07-04T13:32:28Z</dcterms:created>
  <dcterms:modified xsi:type="dcterms:W3CDTF">2023-03-08T00:24:58Z</dcterms:modified>
</cp:coreProperties>
</file>